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56" r:id="rId5"/>
    <p:sldId id="257" r:id="rId6"/>
    <p:sldId id="259" r:id="rId7"/>
    <p:sldId id="260" r:id="rId8"/>
    <p:sldId id="261" r:id="rId9"/>
    <p:sldId id="258" r:id="rId10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75756"/>
    <a:srgbClr val="D0D0D0"/>
    <a:srgbClr val="8094AF"/>
    <a:srgbClr val="BBD03A"/>
    <a:srgbClr val="0D3174"/>
    <a:srgbClr val="7F7F7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7D72BB-A8E5-4FC8-92C0-B14C5FDB908E}" v="24" dt="2022-11-04T09:19:58.6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730"/>
  </p:normalViewPr>
  <p:slideViewPr>
    <p:cSldViewPr snapToGrid="0" snapToObjects="1" showGuides="1">
      <p:cViewPr varScale="1">
        <p:scale>
          <a:sx n="114" d="100"/>
          <a:sy n="114" d="100"/>
        </p:scale>
        <p:origin x="282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95" d="100"/>
          <a:sy n="95" d="100"/>
        </p:scale>
        <p:origin x="279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810D8D-68EF-104F-897B-400E5A86AC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04400" y="8655069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17A3870A-23B3-8C42-9680-396FBEA6B6AD}" type="slidenum">
              <a:rPr lang="de-DE" sz="1000" b="1">
                <a:solidFill>
                  <a:schemeClr val="tx2"/>
                </a:solidFill>
                <a:cs typeface="Arial" panose="020B0604020202020204" pitchFamily="34" charset="0"/>
              </a:rPr>
              <a:pPr algn="r"/>
              <a:t>‹N›</a:t>
            </a:fld>
            <a:endParaRPr lang="de-DE"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2"/>
          </p:nvPr>
        </p:nvSpPr>
        <p:spPr>
          <a:xfrm>
            <a:off x="590400" y="8655069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r>
              <a:rPr lang="de-DE" sz="1000" dirty="0">
                <a:solidFill>
                  <a:schemeClr val="accent1"/>
                </a:solidFill>
                <a:cs typeface="Arial" panose="020B0604020202020204" pitchFamily="34" charset="0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40240739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2" pos="4112" userDrawn="1">
          <p15:clr>
            <a:srgbClr val="F26B43"/>
          </p15:clr>
        </p15:guide>
        <p15:guide id="3" pos="189" userDrawn="1">
          <p15:clr>
            <a:srgbClr val="F26B43"/>
          </p15:clr>
        </p15:guide>
        <p15:guide id="4" orient="horz" pos="18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26035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00038" y="3607358"/>
            <a:ext cx="6227762" cy="451522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04400" y="8654400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algn="r"/>
            <a:fld id="{7D817C07-CE16-5C41-9ABD-94C73CEF6061}" type="slidenum">
              <a:rPr lang="en-US"/>
              <a:pPr algn="r"/>
              <a:t>‹N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4"/>
          </p:nvPr>
        </p:nvSpPr>
        <p:spPr>
          <a:xfrm>
            <a:off x="590400" y="8654400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en-US" dirty="0"/>
              <a:t>Name | </a:t>
            </a:r>
            <a:r>
              <a:rPr lang="en-US" dirty="0" err="1"/>
              <a:t>Abteilung</a:t>
            </a:r>
            <a:r>
              <a:rPr lang="en-US" dirty="0"/>
              <a:t> | 30. </a:t>
            </a:r>
            <a:r>
              <a:rPr lang="en-US" dirty="0" err="1"/>
              <a:t>Januar</a:t>
            </a:r>
            <a:r>
              <a:rPr lang="en-US" dirty="0"/>
              <a:t> 2019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410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89" userDrawn="1">
          <p15:clr>
            <a:srgbClr val="F26B43"/>
          </p15:clr>
        </p15:guide>
        <p15:guide id="2" pos="4112" userDrawn="1">
          <p15:clr>
            <a:srgbClr val="F26B43"/>
          </p15:clr>
        </p15:guide>
        <p15:guide id="3" orient="horz" pos="16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64482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2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16435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6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3385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6.bin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300038" y="288925"/>
            <a:ext cx="11590337" cy="3419475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dirty="0"/>
              <a:t>Image</a:t>
            </a: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413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3821635"/>
            <a:ext cx="71664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 dirty="0"/>
              <a:t>Kicker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068000"/>
            <a:ext cx="11376025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wo-line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515938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8CA627-C090-4DB0-93DA-4973509C6F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Stephan Gronenborn | TPC |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58384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3888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>
                <a:latin typeface="+mj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 err="1"/>
              <a:t>Untertitel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F498C25-70EC-4EBC-8771-2F9083E46FE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FA1CF79-5408-44B7-BD81-9C501A3E9CEF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F8640CD-B4C1-44BD-9F77-925AD71693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4E4710C-E165-4781-B5E5-0EA9B8168C0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420996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AA9C930-D489-4DB2-B44B-5F0139D13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3B38A-FCD1-4AED-9FCA-4C9366A8FAF7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24BB07-730D-4D21-98E2-1D44C412B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CA527BA-2BF6-418D-A3B4-832D5E5D2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774965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13888" y="1484313"/>
            <a:ext cx="82621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300051F-B052-42C3-B5EA-E6B78F92910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7643DB88-55AE-485B-832B-E04A4CADE2C2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5A6FCDB-917F-4BFE-A04B-7D80798E367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E12DACA-07A6-4280-AE4D-625B33C8F09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95437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3972" y="1484313"/>
            <a:ext cx="5472091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99DD78F-D2E4-4F85-9351-C01998A68EBF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C6FEAC1B-CB60-4467-A0A7-E5D89B136540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54F03FD-48CF-4B00-B2B9-353D88E3647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65C5F95-43C8-4209-91DA-982593B70EA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21074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3972" y="1484313"/>
            <a:ext cx="5472091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45BEE2D-C9F5-4187-BB95-C6976674D70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A19D79E-D6F8-446A-BBCB-1BACC9C1C0A6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AB3FCB4-A30C-44DD-A505-7275603F713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E9E1635-16BD-4B06-BC88-06E03400912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41926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93188" y="1484313"/>
            <a:ext cx="26828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60952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400FB60-63A0-4AD6-A817-32A8AE2A5FBB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E1697AB-227F-4221-8741-EC439D96BC19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6B17CB3-45D6-4A62-9125-B710625C823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3B914D0-2D82-43D6-BF30-AEB75FEE8A8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4697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93188" y="1484313"/>
            <a:ext cx="2682875" cy="4346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06763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3306763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6095237" y="1484313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1" name="Bildplatzhalter 5"/>
          <p:cNvSpPr>
            <a:spLocks noGrp="1"/>
          </p:cNvSpPr>
          <p:nvPr>
            <p:ph type="pic" sz="quarter" idx="21"/>
          </p:nvPr>
        </p:nvSpPr>
        <p:spPr>
          <a:xfrm>
            <a:off x="6095237" y="3940175"/>
            <a:ext cx="2682051" cy="1890712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AD08301-C199-4310-9186-2A8205898AF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DBCA8605-AEFF-4839-AA43-3B5B86818FBF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6006990-9C8E-4649-86B9-6C2221B2232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F8D9BBD-F73A-486B-BA75-3220B8448AC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6416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FE9BA2-FD47-4065-A5A3-77CDE08E4C0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DB634C8-FF77-4ED8-BFBA-226EFED94EAD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1B6286-66FD-45EE-91A3-635DB2FBD67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EFCC25-1859-40AE-B173-87DE529A46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33525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D5FEB2-8EC1-4161-8780-FF7B7BFD2B2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7F28B9C-416A-41E9-A867-5DC2B6C8B93B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A08B88-D317-4DB2-A35B-98B73A382B1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AD1D1D3-6ECC-4163-BBFC-D303BEAE686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12119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34CFB03-9B5E-4245-A2A0-811005D025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42236BE-BE71-433C-8B24-378A69BE8E57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FC71868-594A-437F-90A4-84AF8D346EB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D5BE4D-806D-4308-BD3B-E82F9DFC386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25510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19"/>
          <p:cNvSpPr>
            <a:spLocks noGrp="1"/>
          </p:cNvSpPr>
          <p:nvPr>
            <p:ph type="pic" sz="quarter" idx="12" hasCustomPrompt="1"/>
          </p:nvPr>
        </p:nvSpPr>
        <p:spPr>
          <a:xfrm>
            <a:off x="300038" y="288925"/>
            <a:ext cx="11591925" cy="4714875"/>
          </a:xfrm>
          <a:custGeom>
            <a:avLst/>
            <a:gdLst>
              <a:gd name="connsiteX0" fmla="*/ 0 w 11591925"/>
              <a:gd name="connsiteY0" fmla="*/ 0 h 4714875"/>
              <a:gd name="connsiteX1" fmla="*/ 11591925 w 11591925"/>
              <a:gd name="connsiteY1" fmla="*/ 0 h 4714875"/>
              <a:gd name="connsiteX2" fmla="*/ 11591925 w 11591925"/>
              <a:gd name="connsiteY2" fmla="*/ 4714875 h 4714875"/>
              <a:gd name="connsiteX3" fmla="*/ 10655300 w 11591925"/>
              <a:gd name="connsiteY3" fmla="*/ 4714875 h 4714875"/>
              <a:gd name="connsiteX4" fmla="*/ 10655300 w 11591925"/>
              <a:gd name="connsiteY4" fmla="*/ 3402013 h 4714875"/>
              <a:gd name="connsiteX5" fmla="*/ 936625 w 11591925"/>
              <a:gd name="connsiteY5" fmla="*/ 3402013 h 4714875"/>
              <a:gd name="connsiteX6" fmla="*/ 936625 w 11591925"/>
              <a:gd name="connsiteY6" fmla="*/ 4714875 h 4714875"/>
              <a:gd name="connsiteX7" fmla="*/ 0 w 11591925"/>
              <a:gd name="connsiteY7" fmla="*/ 4714875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591925" h="4714875">
                <a:moveTo>
                  <a:pt x="0" y="0"/>
                </a:moveTo>
                <a:lnTo>
                  <a:pt x="11591925" y="0"/>
                </a:lnTo>
                <a:lnTo>
                  <a:pt x="11591925" y="4714875"/>
                </a:lnTo>
                <a:lnTo>
                  <a:pt x="10655300" y="4714875"/>
                </a:lnTo>
                <a:lnTo>
                  <a:pt x="10655300" y="3402013"/>
                </a:lnTo>
                <a:lnTo>
                  <a:pt x="936625" y="3402013"/>
                </a:lnTo>
                <a:lnTo>
                  <a:pt x="936625" y="4714875"/>
                </a:lnTo>
                <a:lnTo>
                  <a:pt x="0" y="4714875"/>
                </a:lnTo>
                <a:close/>
              </a:path>
            </a:pathLst>
          </a:custGeo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dirty="0"/>
              <a:t>Image</a:t>
            </a:r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5892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1236000" y="3691467"/>
            <a:ext cx="9720000" cy="2157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eaLnBrk="1"/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36000" y="3821635"/>
            <a:ext cx="71664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 dirty="0"/>
              <a:t>Kicker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36000" y="4068000"/>
            <a:ext cx="9504100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wo-line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1451900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793C9B5-007A-45BC-A6EB-E345FDBA471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36000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Stephan Gronenborn | TPC |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91168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Images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8728284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4F25B8-AE75-47BA-82AD-C5DC60FEA2AD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C0AB438-5D2F-4200-B52A-51C12D3C2719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7CBC67-095F-4C04-BB70-1EC682F99C4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E652A39-120E-46DC-A9BC-C4B73ABB4A4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30861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7600"/>
          </a:xfrm>
        </p:spPr>
        <p:txBody>
          <a:bodyPr/>
          <a:lstStyle>
            <a:lvl1pPr>
              <a:defRPr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6"/>
          </p:nvPr>
        </p:nvSpPr>
        <p:spPr>
          <a:xfrm>
            <a:off x="515937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15937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/>
          </p:nvPr>
        </p:nvSpPr>
        <p:spPr>
          <a:xfrm>
            <a:off x="4622110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/>
          </p:nvPr>
        </p:nvSpPr>
        <p:spPr>
          <a:xfrm>
            <a:off x="4622110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/>
          </p:nvPr>
        </p:nvSpPr>
        <p:spPr>
          <a:xfrm>
            <a:off x="8728284" y="1484312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/>
          </p:nvPr>
        </p:nvSpPr>
        <p:spPr>
          <a:xfrm>
            <a:off x="8728284" y="3752851"/>
            <a:ext cx="2947779" cy="2078037"/>
          </a:xfrm>
          <a:solidFill>
            <a:schemeClr val="accent2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9CC654A-4E47-48AD-9734-1DE67182B89C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F0F2067-6FE4-45AA-A4E6-BFACA1EAFEFC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38931E-281E-4CD2-BFD2-D47E9E8ADB7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F1C3616-E091-41DE-8119-E4D309DF562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13337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632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0E881F02-8A23-9F4E-BA60-2291CDE38ED9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298800" y="288000"/>
            <a:ext cx="11591925" cy="3420000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8B17D12-CA9E-4021-8689-129C0D8B510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  <p:cxnSp>
        <p:nvCxnSpPr>
          <p:cNvPr id="24" name="Gerade Verbindung 8">
            <a:extLst>
              <a:ext uri="{FF2B5EF4-FFF2-40B4-BE49-F238E27FC236}">
                <a16:creationId xmlns:a16="http://schemas.microsoft.com/office/drawing/2014/main" id="{8E5D4BC1-E803-42BA-9DF8-E57AD3A5DBB3}"/>
              </a:ext>
            </a:extLst>
          </p:cNvPr>
          <p:cNvCxnSpPr>
            <a:cxnSpLocks/>
          </p:cNvCxnSpPr>
          <p:nvPr userDrawn="1"/>
        </p:nvCxnSpPr>
        <p:spPr>
          <a:xfrm>
            <a:off x="515938" y="4229481"/>
            <a:ext cx="2577897" cy="0"/>
          </a:xfrm>
          <a:prstGeom prst="line">
            <a:avLst/>
          </a:prstGeom>
          <a:ln w="190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Masterfeld E-Mail Adresse">
            <a:extLst>
              <a:ext uri="{FF2B5EF4-FFF2-40B4-BE49-F238E27FC236}">
                <a16:creationId xmlns:a16="http://schemas.microsoft.com/office/drawing/2014/main" id="{75ACA7F3-17E0-47FA-86A3-B78FD9B10ECB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15938" y="5128614"/>
            <a:ext cx="306923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/>
              <a:t>stephan.gronenborn@trumpf.com</a:t>
            </a:r>
            <a:endParaRPr lang="en-US" sz="1600" dirty="0"/>
          </a:p>
        </p:txBody>
      </p:sp>
      <p:sp>
        <p:nvSpPr>
          <p:cNvPr id="26" name="Masterfeld Telefonnummer">
            <a:extLst>
              <a:ext uri="{FF2B5EF4-FFF2-40B4-BE49-F238E27FC236}">
                <a16:creationId xmlns:a16="http://schemas.microsoft.com/office/drawing/2014/main" id="{24A88767-40DD-4E38-B73D-1BBE5E40CB2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15938" y="4885871"/>
            <a:ext cx="203902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/>
              <a:t>+49 (0)152 285 122 80</a:t>
            </a:r>
            <a:endParaRPr lang="en-US" sz="1600" dirty="0"/>
          </a:p>
        </p:txBody>
      </p:sp>
      <p:sp>
        <p:nvSpPr>
          <p:cNvPr id="27" name="Masterfeld Abteilung">
            <a:extLst>
              <a:ext uri="{FF2B5EF4-FFF2-40B4-BE49-F238E27FC236}">
                <a16:creationId xmlns:a16="http://schemas.microsoft.com/office/drawing/2014/main" id="{F79E56BB-94D2-4DBC-A0F5-5E65CF86454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15938" y="4640264"/>
            <a:ext cx="34945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/>
              <a:t>TPC</a:t>
            </a:r>
            <a:endParaRPr lang="en-US" sz="1600" dirty="0"/>
          </a:p>
        </p:txBody>
      </p:sp>
      <p:sp>
        <p:nvSpPr>
          <p:cNvPr id="28" name="Masterfeld Name">
            <a:extLst>
              <a:ext uri="{FF2B5EF4-FFF2-40B4-BE49-F238E27FC236}">
                <a16:creationId xmlns:a16="http://schemas.microsoft.com/office/drawing/2014/main" id="{FD005B8D-935B-4179-91D5-333AD12BF8E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15938" y="4366518"/>
            <a:ext cx="224420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b="1">
                <a:solidFill>
                  <a:schemeClr val="tx2"/>
                </a:solidFill>
              </a:rPr>
              <a:t>Stephan Gronenborn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43246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1" hasCustomPrompt="1"/>
          </p:nvPr>
        </p:nvSpPr>
        <p:spPr>
          <a:xfrm>
            <a:off x="3175" y="3175"/>
            <a:ext cx="12188825" cy="6808788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dirty="0"/>
              <a:t>Image</a:t>
            </a: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209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3821635"/>
            <a:ext cx="71664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 dirty="0"/>
              <a:t>Kicker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068000"/>
            <a:ext cx="11376025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cap="none" baseline="0" dirty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wo-line</a:t>
            </a:r>
            <a:br>
              <a:rPr lang="en-US" dirty="0"/>
            </a:br>
            <a:r>
              <a:rPr lang="en-US" dirty="0"/>
              <a:t>Header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515938" y="539046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/>
          <p:cNvGrpSpPr/>
          <p:nvPr userDrawn="1"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5" name="Rechteck 4"/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eaLnBrk="1"/>
              <a:endParaRPr lang="en-US" dirty="0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07B9287-55AF-8048-9FEA-2A80D60D66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1964732-B364-49F3-A470-71B2A7AC271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563622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Stephan Gronenborn | TPC |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51440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026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gradFill>
            <a:gsLst>
              <a:gs pos="50000">
                <a:schemeClr val="accent3"/>
              </a:gs>
              <a:gs pos="100000">
                <a:schemeClr val="accent4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 dirty="0"/>
              <a:t>Imag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6063" y="1495948"/>
            <a:ext cx="716644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 dirty="0"/>
              <a:t>Kicker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2236457"/>
            <a:ext cx="5399999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1" kern="120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ree-line</a:t>
            </a:r>
            <a:br>
              <a:rPr lang="en-US" dirty="0"/>
            </a:br>
            <a:r>
              <a:rPr lang="en-US" dirty="0"/>
              <a:t>Header</a:t>
            </a:r>
            <a:br>
              <a:rPr lang="en-US" dirty="0"/>
            </a:br>
            <a:r>
              <a:rPr lang="en-US" dirty="0"/>
              <a:t>possibl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491963" y="3560073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208D88C-1BCC-4A77-AEA8-1822A2B3913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3" y="3733235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Stephan Gronenborn | TPC |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5153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D5F82FB-B388-40F0-B6B0-A1B1F7DD71E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A2D8CDC-CE5E-4158-87E6-01637956D0E5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4266624-E24B-4AAB-AD81-CEF95250878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1BF6F9-952A-4C9F-BB6B-3C4FD37C80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1662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512763"/>
            <a:ext cx="11160125" cy="387798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>
                <a:latin typeface="+mj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Subhea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82C4990-02CE-4F63-9250-FB7575E60E4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BB6B656-16CD-47EC-B200-36AD6F9E3CF4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E6F42984-59CF-4B1B-8D0D-219AE22132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375BF6A-7185-410D-923A-936CD8FBE94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008253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1484313"/>
            <a:ext cx="11160125" cy="3921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2024670"/>
            <a:ext cx="11160125" cy="38037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F27AA4C9-56AC-ED4E-8F1B-08836D5E3AAF}"/>
              </a:ext>
            </a:extLst>
          </p:cNvPr>
          <p:cNvCxnSpPr>
            <a:cxnSpLocks/>
          </p:cNvCxnSpPr>
          <p:nvPr userDrawn="1"/>
        </p:nvCxnSpPr>
        <p:spPr>
          <a:xfrm>
            <a:off x="515938" y="187560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513EE54-96CB-4FF1-9CDE-0181920D7DE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FCC4521-80B2-44F7-9276-7C5B806D5F81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8F22674-2A30-4ED7-BCF8-E763B68EEFB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3DC3798-DCB0-4B2D-A8E4-DD26D2781CC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004726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eadlin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1484313"/>
            <a:ext cx="11160125" cy="39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512763"/>
            <a:ext cx="11160125" cy="3888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2024670"/>
            <a:ext cx="11160125" cy="38037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F27AA4C9-56AC-ED4E-8F1B-08836D5E3AAF}"/>
              </a:ext>
            </a:extLst>
          </p:cNvPr>
          <p:cNvCxnSpPr>
            <a:cxnSpLocks/>
          </p:cNvCxnSpPr>
          <p:nvPr userDrawn="1"/>
        </p:nvCxnSpPr>
        <p:spPr>
          <a:xfrm>
            <a:off x="515938" y="1875600"/>
            <a:ext cx="2577897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919611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800" b="0">
                <a:latin typeface="+mj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Subhead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B8E1872-94C8-4F65-8F0F-688EA0C9C791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CFBF2739-4854-4C49-B43F-0F837969E779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710A5B9-8163-4769-9170-88B76BD557C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E770355-B6AE-49C0-8682-1744711EDA0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82616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78E6DC4-7B08-4C2B-9A8D-5F4DAC8D4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0BEAC2-DFC6-44C4-A43E-0551B1D01509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C75B781-7257-4DA2-A4D0-9AC83EEE9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C323A0A-2B58-41F6-BC1D-BDD935559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57957C-F0F3-7842-B0E2-B762F92D6487}" type="slidenum">
              <a:rPr lang="en-US"/>
              <a:pPr/>
              <a:t>‹N›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675485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39016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53" imgH="353" progId="TCLayout.ActiveDocument.1">
                  <p:embed/>
                </p:oleObj>
              </mc:Choice>
              <mc:Fallback>
                <p:oleObj name="think-cell Folie" r:id="rId27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83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Head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483200"/>
            <a:ext cx="11160125" cy="4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First Level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Level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  <a:p>
            <a:pPr lvl="5"/>
            <a:r>
              <a:rPr lang="de-DE" sz="1600" b="0" i="0" kern="1200" dirty="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ixth</a:t>
            </a:r>
            <a:r>
              <a: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Level</a:t>
            </a:r>
          </a:p>
          <a:p>
            <a:pPr lvl="6"/>
            <a:r>
              <a:rPr lang="de-DE" b="0" i="0" kern="1200" dirty="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eventh</a:t>
            </a:r>
            <a:r>
              <a:rPr lang="de-DE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Level</a:t>
            </a:r>
          </a:p>
          <a:p>
            <a:pPr lvl="7"/>
            <a:r>
              <a:rPr lang="de-DE" b="0" i="0" kern="1200" dirty="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ighth</a:t>
            </a:r>
            <a:r>
              <a:rPr lang="de-DE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Level</a:t>
            </a:r>
          </a:p>
          <a:p>
            <a:pPr lvl="8"/>
            <a:r>
              <a:rPr lang="de-DE" b="0" i="0" kern="1200" dirty="0" err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Ninth</a:t>
            </a:r>
            <a:r>
              <a:rPr lang="de-DE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34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smtClean="0"/>
              <a:pPr/>
              <a:t>‹N›</a:t>
            </a:fld>
            <a:r>
              <a:rPr lang="de-DE" dirty="0"/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C850553-F986-E441-A5BD-871CFC0817DE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11459963" y="6137318"/>
            <a:ext cx="432000" cy="432000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9897" y="6356349"/>
            <a:ext cx="2743200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Stephan Gronenborn | TPC | CONFIDENTIAL</a:t>
            </a:r>
            <a:endParaRPr lang="de-DE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ABA82F6-CBF7-4FD8-A3C3-3040337C7F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5430" y="6356349"/>
            <a:ext cx="1808141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8ECE469F-C757-477D-8322-7BA05B1BD87A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0AE92D6-4FDA-437A-A085-18024CF91DD4}"/>
              </a:ext>
            </a:extLst>
          </p:cNvPr>
          <p:cNvSpPr>
            <a:spLocks/>
          </p:cNvSpPr>
          <p:nvPr userDrawn="1">
            <p:custDataLst>
              <p:tags r:id="rId25"/>
            </p:custDataLst>
          </p:nvPr>
        </p:nvSpPr>
        <p:spPr>
          <a:xfrm>
            <a:off x="8708231" y="6437161"/>
            <a:ext cx="1422792" cy="153888"/>
          </a:xfrm>
          <a:prstGeom prst="rect">
            <a:avLst/>
          </a:prstGeom>
        </p:spPr>
        <p:txBody>
          <a:bodyPr vert="horz" wrap="none" lIns="0" tIns="0" rIns="0" bIns="0" rtlCol="0" anchor="ctr"/>
          <a:lstStyle/>
          <a:p>
            <a:pPr marL="0" lvl="0" indent="-180000" algn="l">
              <a:buFont typeface="Wingdings" panose="05000000000000000000" pitchFamily="2" charset="2"/>
              <a:buChar char=""/>
            </a:pPr>
            <a:r>
              <a:rPr lang="de-DE" sz="1000" b="0">
                <a:solidFill>
                  <a:schemeClr val="accent1"/>
                </a:solidFill>
                <a:cs typeface="Arial" panose="020B0604020202020204" pitchFamily="34" charset="0"/>
              </a:rPr>
              <a:t>Confidential</a:t>
            </a:r>
            <a:endParaRPr lang="de-DE" sz="1000" b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0" name="empower - DO NOT DELETE!!!" hidden="1">
            <a:extLst>
              <a:ext uri="{FF2B5EF4-FFF2-40B4-BE49-F238E27FC236}">
                <a16:creationId xmlns:a16="http://schemas.microsoft.com/office/drawing/2014/main" id="{819A5C4F-CDEF-44BA-8E7C-1B32CBB51EC9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379798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3" r:id="rId2"/>
    <p:sldLayoutId id="2147483669" r:id="rId3"/>
    <p:sldLayoutId id="2147483685" r:id="rId4"/>
    <p:sldLayoutId id="2147483654" r:id="rId5"/>
    <p:sldLayoutId id="2147483677" r:id="rId6"/>
    <p:sldLayoutId id="2147483675" r:id="rId7"/>
    <p:sldLayoutId id="2147483680" r:id="rId8"/>
    <p:sldLayoutId id="2147483678" r:id="rId9"/>
    <p:sldLayoutId id="2147483681" r:id="rId10"/>
    <p:sldLayoutId id="2147483679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66" r:id="rId22"/>
  </p:sldLayoutIdLst>
  <p:hf hdr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Wingdings" pitchFamily="2" charset="2"/>
        <a:buChar char="§"/>
        <a:defRPr lang="de-DE" sz="1600" b="0" i="0" kern="1200" baseline="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" userDrawn="1">
          <p15:clr>
            <a:srgbClr val="F26B43"/>
          </p15:clr>
        </p15:guide>
        <p15:guide id="2" pos="325" userDrawn="1">
          <p15:clr>
            <a:srgbClr val="F26B43"/>
          </p15:clr>
        </p15:guide>
        <p15:guide id="3" orient="horz" pos="4133" userDrawn="1">
          <p15:clr>
            <a:srgbClr val="F26B43"/>
          </p15:clr>
        </p15:guide>
        <p15:guide id="4" pos="7491" userDrawn="1">
          <p15:clr>
            <a:srgbClr val="F26B43"/>
          </p15:clr>
        </p15:guide>
        <p15:guide id="6" pos="189" userDrawn="1">
          <p15:clr>
            <a:srgbClr val="F26B43"/>
          </p15:clr>
        </p15:guide>
        <p15:guide id="7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  <p15:guide id="9" pos="7355" userDrawn="1">
          <p15:clr>
            <a:srgbClr val="F26B43"/>
          </p15:clr>
        </p15:guide>
        <p15:guide id="10" orient="horz" pos="935" userDrawn="1">
          <p15:clr>
            <a:srgbClr val="F26B43"/>
          </p15:clr>
        </p15:guide>
        <p15:guide id="11" orient="horz" pos="36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99D5F0B9-A9CD-44D4-8331-2A4A4F73578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3CB977-0581-4F10-AE6B-83F0091641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8" y="3821635"/>
            <a:ext cx="218174" cy="21544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315A00-21FC-44F0-A724-D02723AB76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Further </a:t>
            </a:r>
            <a:r>
              <a:rPr lang="de-DE" dirty="0" err="1"/>
              <a:t>info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delling</a:t>
            </a:r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0929FE-1861-4682-8FB1-CAC15FEB3CC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Stephan Gronenborn | TPC | CONFIDENTI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48688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F9186-AB64-4595-8E4C-B469A32D8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vice </a:t>
            </a:r>
            <a:r>
              <a:rPr lang="de-DE" dirty="0" err="1"/>
              <a:t>geometry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A3F144-E0D0-407E-85E0-9D134F3899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27677" y="1483200"/>
            <a:ext cx="6248386" cy="4345200"/>
          </a:xfrm>
        </p:spPr>
        <p:txBody>
          <a:bodyPr/>
          <a:lstStyle/>
          <a:p>
            <a:r>
              <a:rPr lang="de-DE" dirty="0" err="1"/>
              <a:t>Acutal</a:t>
            </a:r>
            <a:r>
              <a:rPr lang="de-DE" dirty="0"/>
              <a:t> </a:t>
            </a:r>
            <a:r>
              <a:rPr lang="de-DE" dirty="0" err="1"/>
              <a:t>values</a:t>
            </a:r>
            <a:endParaRPr lang="de-DE" dirty="0"/>
          </a:p>
          <a:p>
            <a:r>
              <a:rPr lang="de-DE" dirty="0"/>
              <a:t>Mesa </a:t>
            </a:r>
            <a:r>
              <a:rPr lang="de-DE" dirty="0" err="1"/>
              <a:t>radius</a:t>
            </a:r>
            <a:r>
              <a:rPr lang="de-DE" dirty="0"/>
              <a:t> = </a:t>
            </a:r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radius</a:t>
            </a:r>
            <a:r>
              <a:rPr lang="de-DE" dirty="0"/>
              <a:t> + 11.5µm</a:t>
            </a:r>
          </a:p>
          <a:p>
            <a:r>
              <a:rPr lang="de-DE" dirty="0"/>
              <a:t>So </a:t>
            </a:r>
            <a:r>
              <a:rPr lang="de-DE" dirty="0" err="1"/>
              <a:t>mesa</a:t>
            </a:r>
            <a:r>
              <a:rPr lang="de-DE" dirty="0"/>
              <a:t> </a:t>
            </a:r>
            <a:r>
              <a:rPr lang="de-DE" dirty="0" err="1"/>
              <a:t>diameter</a:t>
            </a:r>
            <a:r>
              <a:rPr lang="de-DE" dirty="0"/>
              <a:t> = 28µm </a:t>
            </a:r>
            <a:r>
              <a:rPr lang="de-DE" dirty="0" err="1"/>
              <a:t>for</a:t>
            </a:r>
            <a:r>
              <a:rPr lang="de-DE" dirty="0"/>
              <a:t> a 5µm </a:t>
            </a:r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device</a:t>
            </a:r>
            <a:endParaRPr lang="de-DE" dirty="0"/>
          </a:p>
          <a:p>
            <a:endParaRPr lang="de-DE" dirty="0"/>
          </a:p>
          <a:p>
            <a:r>
              <a:rPr lang="de-DE" dirty="0"/>
              <a:t>P-</a:t>
            </a:r>
            <a:r>
              <a:rPr lang="de-DE" dirty="0" err="1"/>
              <a:t>contact</a:t>
            </a:r>
            <a:r>
              <a:rPr lang="de-DE" dirty="0"/>
              <a:t> </a:t>
            </a:r>
            <a:r>
              <a:rPr lang="de-DE" dirty="0" err="1"/>
              <a:t>inner</a:t>
            </a:r>
            <a:r>
              <a:rPr lang="de-DE" dirty="0"/>
              <a:t> </a:t>
            </a:r>
            <a:r>
              <a:rPr lang="de-DE" dirty="0" err="1"/>
              <a:t>diameter</a:t>
            </a:r>
            <a:r>
              <a:rPr lang="de-DE" dirty="0"/>
              <a:t> 9,3µm</a:t>
            </a:r>
          </a:p>
          <a:p>
            <a:r>
              <a:rPr lang="de-DE" dirty="0"/>
              <a:t>P-</a:t>
            </a:r>
            <a:r>
              <a:rPr lang="de-DE" dirty="0" err="1"/>
              <a:t>contact</a:t>
            </a:r>
            <a:r>
              <a:rPr lang="de-DE" dirty="0"/>
              <a:t> </a:t>
            </a:r>
            <a:r>
              <a:rPr lang="de-DE" dirty="0" err="1"/>
              <a:t>outder</a:t>
            </a:r>
            <a:r>
              <a:rPr lang="de-DE" dirty="0"/>
              <a:t> </a:t>
            </a:r>
            <a:r>
              <a:rPr lang="de-DE" dirty="0" err="1"/>
              <a:t>diameter</a:t>
            </a:r>
            <a:r>
              <a:rPr lang="de-DE" dirty="0"/>
              <a:t> 22µm</a:t>
            </a:r>
          </a:p>
          <a:p>
            <a:endParaRPr lang="de-DE" dirty="0"/>
          </a:p>
          <a:p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passivation</a:t>
            </a:r>
            <a:endParaRPr lang="de-DE" dirty="0"/>
          </a:p>
          <a:p>
            <a:endParaRPr lang="de-DE" dirty="0"/>
          </a:p>
          <a:p>
            <a:r>
              <a:rPr lang="de-DE" dirty="0"/>
              <a:t>Chip Size 200µm x 400µm</a:t>
            </a:r>
          </a:p>
          <a:p>
            <a:r>
              <a:rPr lang="de-DE" dirty="0"/>
              <a:t>Substrate </a:t>
            </a:r>
            <a:r>
              <a:rPr lang="de-DE" dirty="0" err="1"/>
              <a:t>thickness</a:t>
            </a:r>
            <a:r>
              <a:rPr lang="de-DE" dirty="0"/>
              <a:t> 150µ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AF6298-48C5-4247-A8BF-C244D4F124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Stephan Gronenborn | TPC | CONFIDENTIAL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84F74A-0C31-47E4-AF93-C63E17692B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2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6DD7BE-47C8-4665-BE4A-7984264D7BA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A2D8CDC-CE5E-4158-87E6-01637956D0E5}" type="datetime4">
              <a:rPr lang="de-DE" smtClean="0"/>
              <a:pPr/>
              <a:t>4. November 2022</a:t>
            </a:fld>
            <a:endParaRPr lang="de-DE" dirty="0"/>
          </a:p>
        </p:txBody>
      </p:sp>
      <p:pic>
        <p:nvPicPr>
          <p:cNvPr id="8" name="Immagine 6">
            <a:extLst>
              <a:ext uri="{FF2B5EF4-FFF2-40B4-BE49-F238E27FC236}">
                <a16:creationId xmlns:a16="http://schemas.microsoft.com/office/drawing/2014/main" id="{4CA0F96B-51F8-4E4E-9D0B-5D8D0078FF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7" y="2147581"/>
            <a:ext cx="3737288" cy="349935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D27F6BD-E097-4761-8C45-A3106D50C2E6}"/>
              </a:ext>
            </a:extLst>
          </p:cNvPr>
          <p:cNvSpPr txBox="1"/>
          <p:nvPr/>
        </p:nvSpPr>
        <p:spPr>
          <a:xfrm>
            <a:off x="947937" y="1895912"/>
            <a:ext cx="250934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needed</a:t>
            </a:r>
            <a:r>
              <a:rPr lang="de-DE" dirty="0"/>
              <a:t> </a:t>
            </a:r>
            <a:r>
              <a:rPr lang="de-DE" dirty="0" err="1"/>
              <a:t>info</a:t>
            </a:r>
            <a:r>
              <a:rPr lang="de-DE" dirty="0"/>
              <a:t>: </a:t>
            </a:r>
          </a:p>
        </p:txBody>
      </p:sp>
    </p:spTree>
    <p:extLst>
      <p:ext uri="{BB962C8B-B14F-4D97-AF65-F5344CB8AC3E}">
        <p14:creationId xmlns:p14="http://schemas.microsoft.com/office/powerpoint/2010/main" val="13797038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92D9D-BDBC-4643-8F05-07A44A499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ar</a:t>
            </a:r>
            <a:r>
              <a:rPr lang="de-DE" dirty="0"/>
              <a:t>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algorithm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844D58-66BA-41EC-9989-8D9C81A3CD6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TB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B25139-234C-4B2D-A15B-41CD5B6522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A2D8CDC-CE5E-4158-87E6-01637956D0E5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524008-54D1-4EDF-90D3-A7F2DE8F38B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EDAD0C-91D1-4E2D-8553-E18695C8A29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3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B131D2-133E-4834-838B-C1DC71582BDC}"/>
              </a:ext>
            </a:extLst>
          </p:cNvPr>
          <p:cNvSpPr txBox="1"/>
          <p:nvPr/>
        </p:nvSpPr>
        <p:spPr>
          <a:xfrm>
            <a:off x="5629013" y="1275127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3578516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5D3E86-FA8C-4D58-ACE4-7057868D2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 </a:t>
            </a:r>
            <a:r>
              <a:rPr lang="de-DE" dirty="0" err="1"/>
              <a:t>spectrum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F5E14A-F92B-41E4-A04A-83D4F0BA713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A2D8CDC-CE5E-4158-87E6-01637956D0E5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225A6B-EB10-46FD-98D7-7AED866815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86B8E-F3FF-4B99-B1C3-D8977F5855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4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  <p:pic>
        <p:nvPicPr>
          <p:cNvPr id="1026" name="Picture 2" descr="BitPlex Viewer v1490.19.1.31">
            <a:extLst>
              <a:ext uri="{FF2B5EF4-FFF2-40B4-BE49-F238E27FC236}">
                <a16:creationId xmlns:a16="http://schemas.microsoft.com/office/drawing/2014/main" id="{96BCC77E-4ED8-4D7C-AF68-88D354DBB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79" y="1894535"/>
            <a:ext cx="7875079" cy="4254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CFED3A0-BAA3-47FF-8CC3-8DF4678C30B1}"/>
              </a:ext>
            </a:extLst>
          </p:cNvPr>
          <p:cNvSpPr txBox="1"/>
          <p:nvPr/>
        </p:nvSpPr>
        <p:spPr>
          <a:xfrm>
            <a:off x="535534" y="926650"/>
            <a:ext cx="984164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/>
              <a:t>Raw </a:t>
            </a:r>
            <a:r>
              <a:rPr lang="de-DE" dirty="0" err="1"/>
              <a:t>data</a:t>
            </a:r>
            <a:r>
              <a:rPr lang="de-DE" dirty="0"/>
              <a:t>: P-TPC </a:t>
            </a:r>
            <a:r>
              <a:rPr lang="de-DE" dirty="0" err="1"/>
              <a:t>Qyro</a:t>
            </a:r>
            <a:r>
              <a:rPr lang="de-DE" dirty="0"/>
              <a:t> - General\WP2 EPI Development\</a:t>
            </a:r>
            <a:r>
              <a:rPr lang="de-DE" dirty="0" err="1"/>
              <a:t>Simulations</a:t>
            </a:r>
            <a:r>
              <a:rPr lang="de-DE" dirty="0"/>
              <a:t>\CNR\</a:t>
            </a:r>
            <a:r>
              <a:rPr lang="de-DE" dirty="0" err="1"/>
              <a:t>Qyro_Shared_Folder_CNR</a:t>
            </a:r>
            <a:r>
              <a:rPr lang="de-DE" dirty="0"/>
              <a:t>\Simul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elements</a:t>
            </a:r>
            <a:r>
              <a:rPr lang="de-DE" dirty="0"/>
              <a:t> SAMOS</a:t>
            </a:r>
          </a:p>
          <a:p>
            <a:pPr algn="l"/>
            <a:r>
              <a:rPr lang="de-DE" dirty="0"/>
              <a:t>PL-Spektrum_MAT19210001A_0_0.txt</a:t>
            </a:r>
          </a:p>
        </p:txBody>
      </p:sp>
    </p:spTree>
    <p:extLst>
      <p:ext uri="{BB962C8B-B14F-4D97-AF65-F5344CB8AC3E}">
        <p14:creationId xmlns:p14="http://schemas.microsoft.com/office/powerpoint/2010/main" val="11596183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8DA9A-8B69-4679-9962-5AA975496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ip ID </a:t>
            </a:r>
            <a:r>
              <a:rPr lang="de-DE" dirty="0" err="1"/>
              <a:t>of</a:t>
            </a:r>
            <a:r>
              <a:rPr lang="de-DE" dirty="0"/>
              <a:t> SAMOS </a:t>
            </a:r>
            <a:r>
              <a:rPr lang="de-DE" dirty="0" err="1"/>
              <a:t>devices</a:t>
            </a:r>
            <a:r>
              <a:rPr lang="de-DE" dirty="0"/>
              <a:t> and </a:t>
            </a:r>
            <a:r>
              <a:rPr lang="de-DE" dirty="0" err="1"/>
              <a:t>difference</a:t>
            </a:r>
            <a:r>
              <a:rPr lang="de-DE" dirty="0"/>
              <a:t> in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resistance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afer</a:t>
            </a:r>
            <a:endParaRPr lang="de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D7DA6D-7E00-4403-BB6D-3F050F31170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A2D8CDC-CE5E-4158-87E6-01637956D0E5}" type="datetime4">
              <a:rPr lang="de-DE" smtClean="0"/>
              <a:pPr/>
              <a:t>4. November 2022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2AF5D-55A2-4FFD-8536-8828A0AFE5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Stephan Gronenborn | TPC |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053D48-F5DF-4543-B61F-D2256BFEC5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57957C-F0F3-7842-B0E2-B762F92D6487}" type="slidenum">
              <a:rPr lang="en-US" smtClean="0"/>
              <a:pPr/>
              <a:t>5</a:t>
            </a:fld>
            <a:r>
              <a:rPr lang="en-US"/>
              <a:t>  </a:t>
            </a:r>
            <a:r>
              <a:rPr lang="en-US" b="0">
                <a:solidFill>
                  <a:schemeClr val="accent1"/>
                </a:solidFill>
              </a:rPr>
              <a:t>|</a:t>
            </a:r>
            <a:endParaRPr lang="en-US" sz="900" b="0" dirty="0">
              <a:solidFill>
                <a:schemeClr val="accent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8D47C4-77FA-4425-95D7-96D1B77227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7698" y="955251"/>
            <a:ext cx="6504337" cy="207799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4B3DF14-752A-4463-8A4E-297D0DDC0D4D}"/>
              </a:ext>
            </a:extLst>
          </p:cNvPr>
          <p:cNvSpPr txBox="1"/>
          <p:nvPr/>
        </p:nvSpPr>
        <p:spPr>
          <a:xfrm>
            <a:off x="639122" y="1909074"/>
            <a:ext cx="1905393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dirty="0"/>
              <a:t>Wafer 31930_002A</a:t>
            </a:r>
          </a:p>
          <a:p>
            <a:pPr algn="l"/>
            <a:r>
              <a:rPr lang="de-DE" dirty="0"/>
              <a:t>Spalte 125</a:t>
            </a:r>
          </a:p>
          <a:p>
            <a:pPr algn="l"/>
            <a:r>
              <a:rPr lang="de-DE" dirty="0"/>
              <a:t> Zeile 375</a:t>
            </a:r>
          </a:p>
          <a:p>
            <a:pPr algn="l"/>
            <a:r>
              <a:rPr lang="de-DE" dirty="0" err="1"/>
              <a:t>R_diff</a:t>
            </a:r>
            <a:r>
              <a:rPr lang="de-DE" dirty="0"/>
              <a:t> = 0.12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719BF7-B4C1-4888-A444-3EE115636182}"/>
              </a:ext>
            </a:extLst>
          </p:cNvPr>
          <p:cNvSpPr txBox="1"/>
          <p:nvPr/>
        </p:nvSpPr>
        <p:spPr>
          <a:xfrm>
            <a:off x="9264041" y="1994248"/>
            <a:ext cx="1905393" cy="193899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dirty="0"/>
              <a:t>Wafer 31930_002A</a:t>
            </a:r>
          </a:p>
          <a:p>
            <a:pPr algn="l"/>
            <a:r>
              <a:rPr lang="de-DE" dirty="0"/>
              <a:t>Spalte 125</a:t>
            </a:r>
          </a:p>
          <a:p>
            <a:pPr algn="l"/>
            <a:r>
              <a:rPr lang="de-DE" dirty="0"/>
              <a:t>Zeile 94</a:t>
            </a:r>
          </a:p>
          <a:p>
            <a:pPr algn="l"/>
            <a:r>
              <a:rPr lang="de-DE" dirty="0" err="1"/>
              <a:t>R_diff</a:t>
            </a:r>
            <a:r>
              <a:rPr lang="de-DE" dirty="0"/>
              <a:t> = 0.132</a:t>
            </a:r>
          </a:p>
          <a:p>
            <a:pPr algn="l"/>
            <a:endParaRPr lang="de-DE" dirty="0"/>
          </a:p>
          <a:p>
            <a:pPr algn="l"/>
            <a:r>
              <a:rPr lang="de-DE" dirty="0"/>
              <a:t>Next 5µm </a:t>
            </a:r>
            <a:r>
              <a:rPr lang="de-DE" dirty="0" err="1"/>
              <a:t>device</a:t>
            </a:r>
            <a:endParaRPr lang="de-DE" dirty="0"/>
          </a:p>
          <a:p>
            <a:pPr algn="l"/>
            <a:r>
              <a:rPr lang="de-DE" dirty="0" err="1"/>
              <a:t>R_diff</a:t>
            </a:r>
            <a:r>
              <a:rPr lang="de-DE" dirty="0"/>
              <a:t> = 0.177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FB2E808-E253-499D-86CD-074F226B5C5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499" t="6360" r="27340" b="18899"/>
          <a:stretch/>
        </p:blipFill>
        <p:spPr>
          <a:xfrm>
            <a:off x="4339139" y="4141342"/>
            <a:ext cx="2682446" cy="2248250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9AC9EB5-D5AE-4905-88C1-F7FA2E2CF3C5}"/>
              </a:ext>
            </a:extLst>
          </p:cNvPr>
          <p:cNvCxnSpPr>
            <a:cxnSpLocks/>
          </p:cNvCxnSpPr>
          <p:nvPr/>
        </p:nvCxnSpPr>
        <p:spPr>
          <a:xfrm>
            <a:off x="1591819" y="3033246"/>
            <a:ext cx="3944915" cy="3306927"/>
          </a:xfrm>
          <a:prstGeom prst="straightConnector1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5A9FE28D-4047-4C01-B1D8-9C942D76DA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031" t="7477" r="34358" b="17920"/>
          <a:stretch/>
        </p:blipFill>
        <p:spPr>
          <a:xfrm>
            <a:off x="4334636" y="3131503"/>
            <a:ext cx="2657895" cy="2248250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34A3CC0-5519-463C-9964-8C02DA23E362}"/>
              </a:ext>
            </a:extLst>
          </p:cNvPr>
          <p:cNvCxnSpPr>
            <a:cxnSpLocks/>
          </p:cNvCxnSpPr>
          <p:nvPr/>
        </p:nvCxnSpPr>
        <p:spPr>
          <a:xfrm flipH="1">
            <a:off x="5612235" y="2825245"/>
            <a:ext cx="3651806" cy="362572"/>
          </a:xfrm>
          <a:prstGeom prst="straightConnector1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59E78B5-D02D-4AA0-80EA-F86DEEE40887}"/>
              </a:ext>
            </a:extLst>
          </p:cNvPr>
          <p:cNvSpPr txBox="1"/>
          <p:nvPr/>
        </p:nvSpPr>
        <p:spPr>
          <a:xfrm>
            <a:off x="4250534" y="3277238"/>
            <a:ext cx="318760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dirty="0"/>
              <a:t>Region </a:t>
            </a:r>
            <a:r>
              <a:rPr lang="de-DE" dirty="0" err="1"/>
              <a:t>of</a:t>
            </a:r>
            <a:r>
              <a:rPr lang="de-DE" dirty="0"/>
              <a:t> high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resistance</a:t>
            </a:r>
            <a:endParaRPr lang="de-DE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60365D-92A7-46B3-84C1-2A6C0C3C6554}"/>
              </a:ext>
            </a:extLst>
          </p:cNvPr>
          <p:cNvSpPr txBox="1"/>
          <p:nvPr/>
        </p:nvSpPr>
        <p:spPr>
          <a:xfrm>
            <a:off x="4237104" y="5851429"/>
            <a:ext cx="309302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dirty="0"/>
              <a:t>Reg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 </a:t>
            </a:r>
            <a:r>
              <a:rPr lang="de-DE" dirty="0" err="1"/>
              <a:t>series</a:t>
            </a:r>
            <a:r>
              <a:rPr lang="de-DE" dirty="0"/>
              <a:t> </a:t>
            </a:r>
            <a:r>
              <a:rPr lang="de-DE" dirty="0" err="1"/>
              <a:t>resistanc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87971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BA88CDE-8BEF-4BC9-BD2F-25FAECA640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58726F-EE43-47C2-8FCC-53FDE35D49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D57957C-F0F3-7842-B0E2-B762F92D6487}" type="slidenum">
              <a:rPr lang="de-DE" smtClean="0"/>
              <a:pPr/>
              <a:t>6</a:t>
            </a:fld>
            <a:r>
              <a:rPr lang="de-DE"/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197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MIO_CHANGETRACKING" val="true"/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mail adress;Please enter your email adress"/>
  <p:tag name="MIO_USER_INPUT_OPTIONAL" val=" "/>
  <p:tag name="MIO_USER_INPUT_TEXT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hone Number;Please enter your phone number"/>
  <p:tag name="MIO_USER_INPUT_OPTIONAL" val=" "/>
  <p:tag name="MIO_USER_INPUT_TEXT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Department;Please enter your department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ame;Please enter your first and surname"/>
  <p:tag name="MIO_USER_INPUT_OPTIONAL" val=" "/>
  <p:tag name="MIO_USER_INPUT_TEXT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pyright;Please choose a classification for your presentation"/>
  <p:tag name="MIO_USER_INPUT_OPTIONS" val="Confidential;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NUMBER_OF_VALID_LAYOUTS" val="22"/>
  <p:tag name="MIO_HDS" val="True"/>
  <p:tag name="MIO_SKIPVERSION" val="01.01.0001 00:00:00"/>
  <p:tag name="MIO_EKGUID" val="f8e09cdb-ebe7-45f2-9342-12dc1188f9c2"/>
  <p:tag name="MIO_UPDATE" val="True"/>
  <p:tag name="MIO_VERSION" val="25.11.2021 16:13:48"/>
  <p:tag name="MIO_DBID" val="8236CE71-3243-41A3-904F-7EA9E80C736A"/>
  <p:tag name="MIO_LASTDOWNLOADED" val="02.11.2022 11:52:45.095"/>
  <p:tag name="MIO_OBJECTNAME" val="TRUMPF EN"/>
  <p:tag name="MIO_CDID" val="d30371fb-bd2b-4816-a0ce-bd6a1479ab6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1904_Trumpf-Master_English_Dada.potx" id="{7114D919-F24D-4BF3-850E-3476F362DD17}" vid="{22685DFA-F001-47EE-9B34-1395DC300D58}"/>
    </a:ext>
  </a:extLst>
</a:theme>
</file>

<file path=ppt/theme/theme2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8988634-2b17-4e90-8561-1164b9acf114">
      <Terms xmlns="http://schemas.microsoft.com/office/infopath/2007/PartnerControls"/>
    </lcf76f155ced4ddcb4097134ff3c332f>
    <TaxCatchAll xmlns="fdce49a9-7660-407f-ad57-03720a08ae5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6C42ADD6D55814C8336607A9A91A6F1" ma:contentTypeVersion="11" ma:contentTypeDescription="Ein neues Dokument erstellen." ma:contentTypeScope="" ma:versionID="e79bde24b852c4c3cc4b2f9986b5e4b3">
  <xsd:schema xmlns:xsd="http://www.w3.org/2001/XMLSchema" xmlns:xs="http://www.w3.org/2001/XMLSchema" xmlns:p="http://schemas.microsoft.com/office/2006/metadata/properties" xmlns:ns2="f8988634-2b17-4e90-8561-1164b9acf114" xmlns:ns3="fdce49a9-7660-407f-ad57-03720a08ae52" targetNamespace="http://schemas.microsoft.com/office/2006/metadata/properties" ma:root="true" ma:fieldsID="8288e877d61350677fb3a8377a644882" ns2:_="" ns3:_="">
    <xsd:import namespace="f8988634-2b17-4e90-8561-1164b9acf114"/>
    <xsd:import namespace="fdce49a9-7660-407f-ad57-03720a08ae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988634-2b17-4e90-8561-1164b9acf1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7bf37cae-53e9-44ef-88ee-6a9eee8042b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ce49a9-7660-407f-ad57-03720a08ae5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93a5a56-92e3-46de-ae63-6b5264bae1fc}" ma:internalName="TaxCatchAll" ma:showField="CatchAllData" ma:web="fdce49a9-7660-407f-ad57-03720a08ae5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EE1D9C-8B81-4C7C-BB68-FB997AF11A5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D6EAE6-04BA-4BAD-BBEA-00647EBA38BB}">
  <ds:schemaRefs>
    <ds:schemaRef ds:uri="http://schemas.microsoft.com/office/2006/metadata/properties"/>
    <ds:schemaRef ds:uri="http://schemas.microsoft.com/office/infopath/2007/PartnerControls"/>
    <ds:schemaRef ds:uri="f8988634-2b17-4e90-8561-1164b9acf114"/>
    <ds:schemaRef ds:uri="fdce49a9-7660-407f-ad57-03720a08ae52"/>
  </ds:schemaRefs>
</ds:datastoreItem>
</file>

<file path=customXml/itemProps3.xml><?xml version="1.0" encoding="utf-8"?>
<ds:datastoreItem xmlns:ds="http://schemas.openxmlformats.org/officeDocument/2006/customXml" ds:itemID="{A26B7C50-4BCC-4730-8C57-9D796461BF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988634-2b17-4e90-8561-1164b9acf114"/>
    <ds:schemaRef ds:uri="fdce49a9-7660-407f-ad57-03720a08ae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904_Trumpf-Master_English_Dada</Template>
  <TotalTime>0</TotalTime>
  <Words>215</Words>
  <Application>Microsoft Office PowerPoint</Application>
  <PresentationFormat>Widescreen</PresentationFormat>
  <Paragraphs>53</Paragraphs>
  <Slides>6</Slides>
  <Notes>3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6</vt:i4>
      </vt:variant>
    </vt:vector>
  </HeadingPairs>
  <TitlesOfParts>
    <vt:vector size="7" baseType="lpstr">
      <vt:lpstr>Trumpf PowerPoint 2019</vt:lpstr>
      <vt:lpstr>Further info for modelling</vt:lpstr>
      <vt:lpstr>Device geometry</vt:lpstr>
      <vt:lpstr>Far field algorithm</vt:lpstr>
      <vt:lpstr>PL spectrum</vt:lpstr>
      <vt:lpstr>Chip ID of SAMOS devices and difference in series resistance over the wafer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wo-line Header</dc:title>
  <dc:creator>Katharina Kampen</dc:creator>
  <cp:lastModifiedBy>Gronenborn, Stephan</cp:lastModifiedBy>
  <cp:revision>17</cp:revision>
  <cp:lastPrinted>2019-01-11T14:04:50Z</cp:lastPrinted>
  <dcterms:created xsi:type="dcterms:W3CDTF">2019-04-11T08:29:59Z</dcterms:created>
  <dcterms:modified xsi:type="dcterms:W3CDTF">2022-11-04T09:2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C42ADD6D55814C8336607A9A91A6F1</vt:lpwstr>
  </property>
  <property fmtid="{D5CDD505-2E9C-101B-9397-08002B2CF9AE}" pid="3" name="MediaServiceImageTags">
    <vt:lpwstr/>
  </property>
</Properties>
</file>